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10" d="100"/>
          <a:sy n="110" d="100"/>
        </p:scale>
        <p:origin x="-4200" y="-354"/>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137E5DE-ECE9-4DD1-B87D-ADE03C54D4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F4D89D74-0ECB-42A3-A5A8-DE35D704C1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F6D9EBCA-84C6-4555-852F-1D2A1A372A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1</c:v>
                </c:pt>
                <c:pt idx="1">
                  <c:v>0.36</c:v>
                </c:pt>
                <c:pt idx="2">
                  <c:v>0.27</c:v>
                </c:pt>
                <c:pt idx="3">
                  <c:v>0.0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31%</c:v>
                  </c:pt>
                  <c:pt idx="1">
                    <c:v>36%</c:v>
                  </c:pt>
                  <c:pt idx="2">
                    <c:v>27%</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07A41696-FBD9-4515-A725-BF59CDCC06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01628BBA-A8D8-426F-9331-464D413240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84111002-6178-4AB3-9E05-B0A62355F5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6</c:v>
                </c:pt>
                <c:pt idx="2">
                  <c:v>0.47</c:v>
                </c:pt>
                <c:pt idx="3">
                  <c:v>0.3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6%</c:v>
                  </c:pt>
                  <c:pt idx="2">
                    <c:v>47%</c:v>
                  </c:pt>
                  <c:pt idx="3">
                    <c:v>35%</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2</c:v>
                </c:pt>
                <c:pt idx="1">
                  <c:v>0.73</c:v>
                </c:pt>
                <c:pt idx="2">
                  <c:v>0.85</c:v>
                </c:pt>
                <c:pt idx="3">
                  <c:v>0.7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F1E7A26A-6B83-4389-9A6B-510BFEC8ED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400FDD68-BE1F-456A-A6E9-EDD04DF69EF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74ADE1A2-7688-4C88-B280-0316991352B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8</c:v>
                </c:pt>
                <c:pt idx="1">
                  <c:v>0.27</c:v>
                </c:pt>
                <c:pt idx="2">
                  <c:v>0.15</c:v>
                </c:pt>
                <c:pt idx="3">
                  <c:v>0.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2%</c:v>
                  </c:pt>
                  <c:pt idx="1">
                    <c:v>73%</c:v>
                  </c:pt>
                  <c:pt idx="2">
                    <c:v>85%</c:v>
                  </c:pt>
                  <c:pt idx="3">
                    <c:v>79%</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9</c:v>
                </c:pt>
                <c:pt idx="1">
                  <c:v>0.84</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44E2D149-0973-4230-BD35-3F3CDFCA53A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920F6289-2A88-4D80-B0E9-5563E934FA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29D2A713-4A75-401E-BAF2-D9F5268596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F7EAD5B3-CCED-4C9B-B5C6-9C64895BAB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1</c:v>
                </c:pt>
                <c:pt idx="1">
                  <c:v>0.1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84%</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2</c:v>
                </c:pt>
                <c:pt idx="1">
                  <c:v>0.85</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E542F83B-0D5C-4904-8E93-EFE2FF81868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41F9B243-AE25-4308-817F-A139C815C5D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4E086BD-E549-47AD-A0B4-42368FB6F1F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57CB8C47-2277-450D-AB15-3D3C9EB2EF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8000000000000003</c:v>
                </c:pt>
                <c:pt idx="1">
                  <c:v>0.15</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2%</c:v>
                  </c:pt>
                  <c:pt idx="1">
                    <c:v>85%</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572362E-E6A5-4C2F-920B-62EA5B7C30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D2C920F2-9B1E-4AE0-8D63-A4438591A6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9%</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7</c:v>
                </c:pt>
                <c:pt idx="1">
                  <c:v>0.88</c:v>
                </c:pt>
                <c:pt idx="2">
                  <c:v>0.91</c:v>
                </c:pt>
                <c:pt idx="3">
                  <c:v>0.87</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547A4162-7471-44D1-9EAB-BA7588145F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270302C8-CB9F-41BC-9918-D9FFDC4A3C7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35BDE925-82FA-4721-A2DC-777F039A80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CEA9381C-4305-412A-8FEA-D205FF7C13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3</c:v>
                </c:pt>
                <c:pt idx="1">
                  <c:v>0.12</c:v>
                </c:pt>
                <c:pt idx="2">
                  <c:v>0.09</c:v>
                </c:pt>
                <c:pt idx="3">
                  <c:v>0.13</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88%</c:v>
                  </c:pt>
                  <c:pt idx="2">
                    <c:v>91%</c:v>
                  </c:pt>
                  <c:pt idx="3">
                    <c:v>87%</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7</c:v>
                </c:pt>
                <c:pt idx="2">
                  <c:v>0.86</c:v>
                </c:pt>
                <c:pt idx="3">
                  <c:v>0.9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39F0C7D5-415A-411C-B892-3BEBFFDE6E1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7639D53-9DE0-47CB-BD5E-CE19275398F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B1B71228-30C2-49F0-93A9-09B72FE5D7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14000000000000001</c:v>
                </c:pt>
                <c:pt idx="3">
                  <c:v>7.0000000000000007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7%</c:v>
                  </c:pt>
                  <c:pt idx="2">
                    <c:v>86%</c:v>
                  </c:pt>
                  <c:pt idx="3">
                    <c:v>93%</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86</c:v>
                </c:pt>
                <c:pt idx="3">
                  <c:v>0.96</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5B4EE399-F409-4657-9AE8-4D5492BCC5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D4E22AB0-2F1F-4343-BC6C-ABE0E61A0F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83669288-1333-4573-9E44-2CCFD14348F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3104D858-92F4-4AB2-9CEF-0241C20AB10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14000000000000001</c:v>
                </c:pt>
                <c:pt idx="3">
                  <c:v>0.04</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c:v>
                  </c:pt>
                  <c:pt idx="2">
                    <c:v>86%</c:v>
                  </c:pt>
                  <c:pt idx="3">
                    <c:v>96%</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8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3F7326C3-BD9A-4360-AD53-92D9AB107EE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619AE015-6D51-421B-9BC6-90ABD8FAD3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C037CB76-9A67-453A-A24B-D1B3633644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E76DB8A7-1922-45C4-9B47-BFA89585588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1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06EA7499-7F97-4B33-86CC-FD8EFC93D47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D3CC40E3-5B56-4B57-9A7F-E5FAAECADE4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9%</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3</c:v>
                </c:pt>
                <c:pt idx="2">
                  <c:v>2</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5</c:v>
                </c:pt>
                <c:pt idx="1">
                  <c:v>2</c:v>
                </c:pt>
                <c:pt idx="2">
                  <c:v>3</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1A151899-4938-4D68-8466-8583D29B9A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3CF1EF94-6248-46DE-9A07-16CD02A4F4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B9D63767-AA1D-4800-8AEB-7C064AE953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60814FD5-5AFA-4E54-BD40-58F165C724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F7958808-6171-4DEE-BFAA-291B41788B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48214E40-AB69-41E6-B2F6-B084928C65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1</c:v>
                </c:pt>
                <c:pt idx="1">
                  <c:v>6</c:v>
                </c:pt>
                <c:pt idx="2">
                  <c:v>4</c:v>
                </c:pt>
                <c:pt idx="3">
                  <c:v>2</c:v>
                </c:pt>
                <c:pt idx="4">
                  <c:v>2</c:v>
                </c:pt>
                <c:pt idx="5">
                  <c:v>3</c:v>
                </c:pt>
                <c:pt idx="6">
                  <c:v>4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1%</c:v>
                  </c:pt>
                  <c:pt idx="1">
                    <c:v>6%</c:v>
                  </c:pt>
                  <c:pt idx="2">
                    <c:v>4%</c:v>
                  </c:pt>
                  <c:pt idx="3">
                    <c:v>2%</c:v>
                  </c:pt>
                  <c:pt idx="4">
                    <c:v>2%</c:v>
                  </c:pt>
                  <c:pt idx="5">
                    <c:v>3%</c:v>
                  </c:pt>
                  <c:pt idx="6">
                    <c:v>4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F54D26A6-B3E9-4868-ACFD-F9C8F3D391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E1565169-0589-45DF-8A7B-DC7F3A4B8B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4E8E26A9-7E12-4534-BDD0-E65E69283A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746961F2-98D0-42A8-9CF9-D32E3E37CB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58C4E290-FFB0-42B5-B618-AC76C069F8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3A1FF4D5-79F6-4F20-863E-109FD04129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6</c:v>
                </c:pt>
                <c:pt idx="1">
                  <c:v>9</c:v>
                </c:pt>
                <c:pt idx="2">
                  <c:v>4</c:v>
                </c:pt>
                <c:pt idx="3">
                  <c:v>3</c:v>
                </c:pt>
                <c:pt idx="4">
                  <c:v>17</c:v>
                </c:pt>
                <c:pt idx="5">
                  <c:v>5</c:v>
                </c:pt>
                <c:pt idx="6">
                  <c:v>3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6%</c:v>
                  </c:pt>
                  <c:pt idx="1">
                    <c:v>9%</c:v>
                  </c:pt>
                  <c:pt idx="2">
                    <c:v>4%</c:v>
                  </c:pt>
                  <c:pt idx="3">
                    <c:v>3%</c:v>
                  </c:pt>
                  <c:pt idx="4">
                    <c:v>17%</c:v>
                  </c:pt>
                  <c:pt idx="5">
                    <c:v>5%</c:v>
                  </c:pt>
                  <c:pt idx="6">
                    <c:v>34%</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0829225F-59CC-41B7-A532-A8BDD3E24B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3DDE4D97-B896-4A81-982C-4E9400FAB0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6F8324B0-19DA-475C-AD5E-96178E0E6F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8629D8C0-F107-4FE5-9F85-014549BEB6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81CAC28B-1D2F-46E4-99A3-C6BEC56D9F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E9D2F369-B686-4659-9B1C-BD9FFFB9D2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5</c:v>
                </c:pt>
                <c:pt idx="1">
                  <c:v>8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5%</c:v>
                  </c:pt>
                  <c:pt idx="1">
                    <c:v>85%</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2FB433E-9593-4734-8143-BE320557F5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4ACECF56-E56B-490F-83C4-029175E0D3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727A9284-6CC1-4C96-9576-6596BAB625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F7450F76-FE2B-49D8-B18A-AC7D99AB5D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2</c:v>
                </c:pt>
                <c:pt idx="1">
                  <c:v>0.46</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2%</c:v>
                  </c:pt>
                  <c:pt idx="1">
                    <c:v>46%</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C6EBEAB1-2310-4745-AE1A-090DEC276B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932D6724-7655-4D77-A26B-565F57E154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C64F3BF2-B52D-47C3-8089-3E625DBE0C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95EE580C-CC5A-4DDB-8AA7-92CB7B8D0E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4</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94D3ABFA-3C82-4627-BE3A-4055E6915A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8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7%q</c:v>
                  </c:pt>
                  <c:pt idx="1">
                    <c:v>83%p</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A17CD586-FB36-4827-9CEB-456CC84CC7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B2BEE49B-E615-4FDB-A80A-4C547E4229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4ABF15A8-3DF0-433B-8671-E01B1E6814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18FD8488-2269-4D84-BFE1-7823BC6458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E34A07F-7932-42EE-BE87-AD4B712313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FA94B537-AAE1-4F4B-9C2C-CB271DA475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77DBAEB4-C580-48D5-B183-2F007E9616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AD2FCE8D-608A-4055-A621-A8764626A2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900C353C-92B9-474F-9CD5-B8BC819E8D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36FCB348-6641-4F89-8372-E2AAB61601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D3EC988C-20EE-4E61-BF54-730103A619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0</c:v>
                </c:pt>
                <c:pt idx="2">
                  <c:v>83</c:v>
                </c:pt>
                <c:pt idx="3">
                  <c:v>75</c:v>
                </c:pt>
                <c:pt idx="4">
                  <c:v>92</c:v>
                </c:pt>
                <c:pt idx="5">
                  <c:v>34</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90%</c:v>
                  </c:pt>
                  <c:pt idx="2">
                    <c:v>83%</c:v>
                  </c:pt>
                  <c:pt idx="3">
                    <c:v>75%</c:v>
                  </c:pt>
                  <c:pt idx="4">
                    <c:v>92%</c:v>
                  </c:pt>
                  <c:pt idx="5">
                    <c:v>34%</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821DB962-F1CF-40BA-B9E7-AD7AB1D0E0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4B3D9C7C-063E-4879-919E-FB22B47873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E3CB5635-ACAF-4594-9617-5566986317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3640523C-2156-46DC-A14E-4FAC9313B6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5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5363C8DC-A145-4F76-A435-6B66837BBC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89</c:v>
                </c:pt>
                <c:pt idx="2">
                  <c:v>78</c:v>
                </c:pt>
                <c:pt idx="3">
                  <c:v>70</c:v>
                </c:pt>
                <c:pt idx="4">
                  <c:v>91</c:v>
                </c:pt>
                <c:pt idx="5">
                  <c:v>50</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89%</c:v>
                  </c:pt>
                  <c:pt idx="2">
                    <c:v>78%p</c:v>
                  </c:pt>
                  <c:pt idx="3">
                    <c:v>70%</c:v>
                  </c:pt>
                  <c:pt idx="4">
                    <c:v>91%</c:v>
                  </c:pt>
                  <c:pt idx="5">
                    <c:v>50%p</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31</c:v>
                </c:pt>
                <c:pt idx="2">
                  <c:v>10</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1</c:v>
                </c:pt>
                <c:pt idx="1">
                  <c:v>33</c:v>
                </c:pt>
                <c:pt idx="2">
                  <c:v>17</c:v>
                </c:pt>
                <c:pt idx="3">
                  <c:v>8</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D77065F9-12E9-47E0-A001-8D92CD46C2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8E8575B-1C91-429D-8F28-16B20933A5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1C94B3C9-71A1-48F7-9C23-E408CBCDC8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75763B86-4ED9-44E4-B797-F4C8313363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c:v>
                </c:pt>
                <c:pt idx="1">
                  <c:v>20</c:v>
                </c:pt>
                <c:pt idx="2">
                  <c:v>7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5</c:v>
                </c:pt>
                <c:pt idx="1">
                  <c:v>36</c:v>
                </c:pt>
                <c:pt idx="2">
                  <c:v>5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7</c:v>
                </c:pt>
                <c:pt idx="2">
                  <c:v>30</c:v>
                </c:pt>
                <c:pt idx="3">
                  <c:v>15</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23</c:v>
                </c:pt>
                <c:pt idx="2">
                  <c:v>16</c:v>
                </c:pt>
                <c:pt idx="3">
                  <c:v>16</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6800000000000001</c:v>
                </c:pt>
                <c:pt idx="1">
                  <c:v>0.17100000000000001</c:v>
                </c:pt>
                <c:pt idx="2">
                  <c:v>0.17699999999999999</c:v>
                </c:pt>
                <c:pt idx="3">
                  <c:v>0.245</c:v>
                </c:pt>
                <c:pt idx="4">
                  <c:v>0.238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1199999999999999</c:v>
                </c:pt>
                <c:pt idx="1">
                  <c:v>0.22</c:v>
                </c:pt>
                <c:pt idx="2">
                  <c:v>0.14599999999999999</c:v>
                </c:pt>
                <c:pt idx="3">
                  <c:v>0.185</c:v>
                </c:pt>
                <c:pt idx="4">
                  <c:v>0.236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3</c:v>
                </c:pt>
                <c:pt idx="2">
                  <c:v>27</c:v>
                </c:pt>
                <c:pt idx="3">
                  <c:v>19</c:v>
                </c:pt>
                <c:pt idx="4">
                  <c:v>3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6</c:v>
                </c:pt>
                <c:pt idx="2">
                  <c:v>21</c:v>
                </c:pt>
                <c:pt idx="3">
                  <c:v>21</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24</c:v>
                </c:pt>
                <c:pt idx="2">
                  <c:v>27</c:v>
                </c:pt>
                <c:pt idx="3">
                  <c:v>20</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3</c:v>
                </c:pt>
                <c:pt idx="1">
                  <c:v>34</c:v>
                </c:pt>
                <c:pt idx="2">
                  <c:v>14</c:v>
                </c:pt>
                <c:pt idx="3">
                  <c:v>10</c:v>
                </c:pt>
                <c:pt idx="4">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E079E124-641B-4D6D-B9E0-EC536522BB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DD086A1F-4B59-4203-8D0F-6B8B0D5735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2B17D64E-6980-4C53-B4E7-8C2619CE33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7F5D4E33-D210-4EB5-A6FB-F3C1B78889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05</c:v>
                </c:pt>
                <c:pt idx="2">
                  <c:v>0</c:v>
                </c:pt>
                <c:pt idx="3">
                  <c:v>0.03</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0%</c:v>
                  </c:pt>
                  <c:pt idx="1">
                    <c:v>5%</c:v>
                  </c:pt>
                  <c:pt idx="2">
                    <c:v>-</c:v>
                  </c:pt>
                  <c:pt idx="3">
                    <c:v>3%</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983656A9-DF32-4B6A-9932-75B895AE09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6978DDE3-8153-4F98-9FCF-F078FC9045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8B0F74B0-7F4F-4766-8561-48EF290827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20BB148E-7174-42B6-98AE-A87C50C448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6</c:v>
                </c:pt>
                <c:pt idx="1">
                  <c:v>0</c:v>
                </c:pt>
                <c:pt idx="2">
                  <c:v>0.08</c:v>
                </c:pt>
                <c:pt idx="3">
                  <c:v>0.04</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6%</c:v>
                  </c:pt>
                  <c:pt idx="1">
                    <c:v>-</c:v>
                  </c:pt>
                  <c:pt idx="2">
                    <c:v>8%</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8</c:v>
                </c:pt>
                <c:pt idx="2">
                  <c:v>29</c:v>
                </c:pt>
                <c:pt idx="3">
                  <c:v>19</c:v>
                </c:pt>
                <c:pt idx="4">
                  <c:v>3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21</c:v>
                </c:pt>
                <c:pt idx="2">
                  <c:v>25</c:v>
                </c:pt>
                <c:pt idx="3">
                  <c:v>16</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1</c:v>
                </c:pt>
                <c:pt idx="1">
                  <c:v>20</c:v>
                </c:pt>
                <c:pt idx="2">
                  <c:v>46</c:v>
                </c:pt>
                <c:pt idx="3">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6</c:v>
                </c:pt>
                <c:pt idx="1">
                  <c:v>37</c:v>
                </c:pt>
                <c:pt idx="2">
                  <c:v>29</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6</c:v>
                </c:pt>
                <c:pt idx="1">
                  <c:v>34</c:v>
                </c:pt>
                <c:pt idx="2">
                  <c:v>13</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4</c:v>
                </c:pt>
                <c:pt idx="1">
                  <c:v>25</c:v>
                </c:pt>
                <c:pt idx="2">
                  <c:v>5</c:v>
                </c:pt>
                <c:pt idx="3">
                  <c:v>4</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49</c:v>
                </c:pt>
                <c:pt idx="2">
                  <c:v>1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8</c:v>
                </c:pt>
                <c:pt idx="1">
                  <c:v>51</c:v>
                </c:pt>
                <c:pt idx="2">
                  <c:v>17</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384CA0D1-8D7D-432E-801A-7C01B78314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E9800DC-C657-4CDB-B53E-475C588337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BF6F5663-7486-442A-A731-FFA8FFA782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87069A43-A985-4EC5-ADB3-2F52FEB23D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693F050E-C8A0-4896-AC0A-C762A48F92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4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3%q</c:v>
                  </c:pt>
                  <c:pt idx="1">
                    <c:v>47%p</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DE321409-1D1B-4774-9CE5-9FF156A73B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388C0B94-ED1E-4B4F-9AAA-B0795F8C93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98B47D2F-081D-4C9B-9F38-51E1598255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4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BD0-417A-9AE1-625975EDEF4B}"/>
                </c:ext>
              </c:extLst>
            </c:dLbl>
            <c:dLbl>
              <c:idx val="1"/>
              <c:tx>
                <c:rich>
                  <a:bodyPr/>
                  <a:lstStyle/>
                  <a:p>
                    <a:r>
                      <a:rPr lang="en-GB"/>
                      <a:t>5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p</c:v>
                  </c:pt>
                  <c:pt idx="1">
                    <c:v>54%q</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7CF41831-DE07-40C7-8E3F-2454001740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EAF9F614-38E7-416C-B095-F32746FA33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EE54E679-6C73-4759-B56B-E190B097D1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4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5</c:v>
                </c:pt>
                <c:pt idx="1">
                  <c:v>4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5%p</c:v>
                  </c:pt>
                  <c:pt idx="1">
                    <c:v>45%q</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094CE28E-1DEB-42DD-AE3A-4DB09BE050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44541A2F-F222-4DAD-A341-9BC1D62335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2</c:v>
                </c:pt>
                <c:pt idx="1">
                  <c:v>6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2%</c:v>
                  </c:pt>
                  <c:pt idx="1">
                    <c:v>68%</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501E1EF7-6B1E-4280-A314-30C5C629C3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A8CC6917-E3A1-4EA4-BFE5-42D614D1EF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E04E882F-98DF-47ED-9EDF-1A3D8D6042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E2B30F71-BCE2-4347-BACB-487AE5DDA4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0E72D6BE-C900-4AF4-BF7E-BD8C8DB09B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2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p</c:v>
                  </c:pt>
                  <c:pt idx="1">
                    <c:v>29%q</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B6AE13AD-9B04-4870-9A90-CC0CAEF374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5E5DADB9-C48E-49DE-A58F-C123B39EF7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F3B917E9-3FBA-4627-9DC6-84F98847F4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2D6FB101-1510-422A-B273-4032CCBF2C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EA1FDD58-C082-409E-9B6E-18DC2DD9B5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8</c:v>
                </c:pt>
                <c:pt idx="1">
                  <c:v>35</c:v>
                </c:pt>
                <c:pt idx="2">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7</c:v>
                </c:pt>
                <c:pt idx="1">
                  <c:v>54</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7519-4C1F-9643-9A55D10271AC}"/>
                </c:ext>
              </c:extLst>
            </c:dLbl>
            <c:dLbl>
              <c:idx val="1"/>
              <c:tx>
                <c:rich>
                  <a:bodyPr/>
                  <a:lstStyle/>
                  <a:p>
                    <a:fld id="{2E065C04-A61A-4E11-9CEF-141D607A4E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808357A3-D1AF-415A-B4FB-652E510CEE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BB12596F-8ED4-4F90-81BB-D573C1C1A6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76559D24-7F80-4305-B101-96F9935D2B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399B2596-4F17-449D-A1F2-B5319A176B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r>
                      <a:rPr lang="en-GB"/>
                      <a:t>1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70</c:v>
                </c:pt>
                <c:pt idx="1">
                  <c:v>8</c:v>
                </c:pt>
                <c:pt idx="2">
                  <c:v>64</c:v>
                </c:pt>
                <c:pt idx="3">
                  <c:v>30</c:v>
                </c:pt>
                <c:pt idx="4">
                  <c:v>20</c:v>
                </c:pt>
                <c:pt idx="5">
                  <c:v>18</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0%p</c:v>
                  </c:pt>
                  <c:pt idx="1">
                    <c:v>8%</c:v>
                  </c:pt>
                  <c:pt idx="2">
                    <c:v>64%</c:v>
                  </c:pt>
                  <c:pt idx="3">
                    <c:v>30%</c:v>
                  </c:pt>
                  <c:pt idx="4">
                    <c:v>20%</c:v>
                  </c:pt>
                  <c:pt idx="5">
                    <c:v>18%</c:v>
                  </c:pt>
                  <c:pt idx="6">
                    <c:v>12%p</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644E1164-242F-4800-AAE7-A2FEED5C79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6EA6E476-4A83-49A0-B4B8-2016049FC9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5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1EB43E47-DDEF-499E-8732-E7976EC6D3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B9815391-E501-4B3B-9542-C74A8EDBB1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755B5F83-C22E-48B2-8E10-3E543F3E19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9</c:v>
                </c:pt>
                <c:pt idx="1">
                  <c:v>18</c:v>
                </c:pt>
                <c:pt idx="2">
                  <c:v>30</c:v>
                </c:pt>
                <c:pt idx="3">
                  <c:v>52</c:v>
                </c:pt>
                <c:pt idx="4">
                  <c:v>7</c:v>
                </c:pt>
                <c:pt idx="5">
                  <c:v>17</c:v>
                </c:pt>
                <c:pt idx="6">
                  <c:v>1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9%</c:v>
                  </c:pt>
                  <c:pt idx="1">
                    <c:v>18%</c:v>
                  </c:pt>
                  <c:pt idx="2">
                    <c:v>30%</c:v>
                  </c:pt>
                  <c:pt idx="3">
                    <c:v>52%p</c:v>
                  </c:pt>
                  <c:pt idx="4">
                    <c:v>7%</c:v>
                  </c:pt>
                  <c:pt idx="5">
                    <c:v>17%</c:v>
                  </c:pt>
                  <c:pt idx="6">
                    <c:v>11%</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9</c:v>
                </c:pt>
                <c:pt idx="1">
                  <c:v>33</c:v>
                </c:pt>
                <c:pt idx="2">
                  <c:v>6</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43</c:v>
                </c:pt>
                <c:pt idx="2">
                  <c:v>3</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0%</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68</c:v>
                </c:pt>
                <c:pt idx="1">
                  <c:v>0.81</c:v>
                </c:pt>
                <c:pt idx="2">
                  <c:v>0.81</c:v>
                </c:pt>
                <c:pt idx="3">
                  <c:v>0.82</c:v>
                </c:pt>
                <c:pt idx="4">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C9C50F68-B8C5-49F1-882A-1346A7ED0FA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20311F03-7F56-4F39-A67A-77E87CAA24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C8CBC5AA-8912-4B9B-9A1C-0BCBD1C968A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37898245-77DC-434E-888D-D53C33D4BE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32</c:v>
                </c:pt>
                <c:pt idx="1">
                  <c:v>0.19</c:v>
                </c:pt>
                <c:pt idx="2">
                  <c:v>0.19</c:v>
                </c:pt>
                <c:pt idx="3">
                  <c:v>0.18</c:v>
                </c:pt>
                <c:pt idx="4">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68%</c:v>
                  </c:pt>
                  <c:pt idx="1">
                    <c:v>81%</c:v>
                  </c:pt>
                  <c:pt idx="2">
                    <c:v>81%</c:v>
                  </c:pt>
                  <c:pt idx="3">
                    <c:v>82%</c:v>
                  </c:pt>
                  <c:pt idx="4">
                    <c:v>81%</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RISTOL, NORTH SOMERSET AND SOUTH GLOUCESTER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RISTOL, NORTH SOMERSET AND SOUTH GLOUCESTER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RISTOL, NORTH SOMERSET AND SOUTH GLOUCESTER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RISTOL, NORTH SOMERSET AND SOUTH GLOUCESTER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RISTOL, NORTH SOMERSET AND SOUTH GLOUCESTER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BRISTOL, NORTH SOMERSET AND SOUTH GLOUCESTER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13793446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13208048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78145611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6401642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RISTOL, NORTH SOMERSET AND SOUTH GLOU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10831859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00626618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5% of respondents who were marked as Type 1 in the sample selected ‘Type 1’, 2% selected ‘Type 2’, 3% selected ‘Other’ and *% selected ‘I don’t know’ ​</a:t>
            </a:r>
          </a:p>
          <a:p>
            <a:pPr marL="171450" indent="-171450">
              <a:buFont typeface="Arial" panose="020B0604020202020204" pitchFamily="34" charset="0"/>
              <a:buChar char="•"/>
              <a:defRPr/>
            </a:pPr>
            <a:r>
              <a:rPr lang="en-GB" sz="1200" dirty="0">
                <a:solidFill>
                  <a:schemeClr val="tx1"/>
                </a:solidFill>
                <a:effectLst/>
              </a:rPr>
              <a:t>93% of respondents who were marked as Type 2 in the sample selected ‘Type 2’, 2% selected ‘Type 1’, 2%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61); Type 2, ICS (58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03341245"/>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02635112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190985728"/>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6641612"/>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5413198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402); Type 2, National (19,941), ICS (48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629803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41141074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7); Type 2, National (22,278), ICS (540))</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0045875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7930691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68); Type 2, National (21,082), ICS (506))</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414934331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59761367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59); Type 2, National (24,180), ICS (585))</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775550973"/>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245792926"/>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761619278"/>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64215145"/>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5401737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44); Type 2, National (22,482), ICS (55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5864921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56623187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49547349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613079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022742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48113389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18174498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30369656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82660332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48); Type 2, National (22,670), ICS (55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40179848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82532305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292972709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75020677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8414631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288366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41458954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8171905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6647125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59); Type 2, National (24,076), ICS (584))</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1874483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9550086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80598606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88050695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57132564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34926108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33189501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7552229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59); Type 2, National (24,153), ICS (57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16597553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50523505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06794562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7298818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04470954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1018019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29374085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9413675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22182978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56); Type 2, National (24,135), ICS (58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0350812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42171099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0921227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79938852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1897360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785824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8871639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3972445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8593959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58); Type 2, National (24,084), ICS (58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94930460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93586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59011246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77465710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63097882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6332335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9624958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84442451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3216559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57); Type 2, National (24,070), ICS (57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7670077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90816047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5955286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01292617"/>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47751567"/>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480570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041803000"/>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59921829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5012792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59); Type 2, National (24,260), ICS (58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99347570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77959813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954434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66268849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18590889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41807349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57043886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84749224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59445470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60); Type 2, National (24,267), ICS (58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81770815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27123779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36216670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2583368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41533917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589981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61885690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1639382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9464096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59); Type 2, National (24,196), ICS (58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7575474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4064400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61218345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59); Type 2, National (24,019), ICS (58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66897452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1050811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27); Type 2, National (11,860), ICS (306))</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16600352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616938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36); Type 2, National (21,228), ICS (51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4135834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4386649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36); Type 2, National (20,915), ICS (51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95487852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83455889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13); Type 2, National (20,086), ICS (486))</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87473496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08224226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37); Type 2, National (21,890), ICS (53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8879477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83328784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14); Type 2, National (18,585), ICS (460))</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3945480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85615174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72346085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2265669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98841489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6789501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7922611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13624367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44); Type 2, National (22,580), ICS (542))</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6072994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063330862"/>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85740306"/>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036005837"/>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28220750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1158301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51); Type 2, National (12,350), ICS (300))</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17852518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63955151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8256151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3507539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37326387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3183492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0233137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2990894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50); Type 2, National (10,911), ICS (25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8082063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05419778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280234451"/>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368416592"/>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588008851"/>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421865286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961052406"/>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31))</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07654673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160626611"/>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656770192"/>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774151595"/>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3629832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011071614"/>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5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RISTOL, NORTH SOMERSET AND SOUTH GLOUCESTER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3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51</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61</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69</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6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02478020"/>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231415300"/>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14248163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208800941"/>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3239616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752152564"/>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42179402"/>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RISTOL, NORTH SOMERSET AND SOUTH GLOU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4232514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Having a smoking status review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6706222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21286878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Participating in a course about diabetes
Having confidence in managing their diabetes day-to-day
Healthcare professionals providing support to monitor blood sugar levels
Healthcare professionals providing support in taking medicine
Healthcare professionals providing support with eating well
Healthcare professionals providing support with emotional and mental health need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6242658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5</TotalTime>
  <Words>5363</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Arial (Body)</vt:lpstr>
      <vt:lpstr>Wingdings 3</vt:lpstr>
      <vt:lpstr>Segoe UI</vt:lpstr>
      <vt:lpstr>HelveticaNeueLT Std Lt Cn</vt:lpstr>
      <vt:lpstr>Roboto</vt:lpstr>
      <vt:lpstr>Barlow</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2: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